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6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2.emf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380DB-C2EE-E37F-38C9-84E40A62AF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20BB0D3-2D56-A94F-521C-B17813AC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0BB0D3-2D56-A94F-521C-B17813AC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EEE043-AE74-1811-E112-4722BB635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48D81F-CE52-0850-8B46-E987E5C67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 header</a:t>
            </a:r>
          </a:p>
        </p:txBody>
      </p:sp>
      <p:sp>
        <p:nvSpPr>
          <p:cNvPr id="5" name="Shape 3366">
            <a:extLst>
              <a:ext uri="{FF2B5EF4-FFF2-40B4-BE49-F238E27FC236}">
                <a16:creationId xmlns:a16="http://schemas.microsoft.com/office/drawing/2014/main" id="{E1399C8B-D30C-E040-DB15-D7D914C370E1}"/>
              </a:ext>
            </a:extLst>
          </p:cNvPr>
          <p:cNvSpPr/>
          <p:nvPr/>
        </p:nvSpPr>
        <p:spPr>
          <a:xfrm rot="1975530">
            <a:off x="5564419" y="1225988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0_20180322_094209">
            <a:extLst>
              <a:ext uri="{FF2B5EF4-FFF2-40B4-BE49-F238E27FC236}">
                <a16:creationId xmlns:a16="http://schemas.microsoft.com/office/drawing/2014/main" id="{AEF9ABBB-0679-2936-493A-500E0554B667}"/>
              </a:ext>
            </a:extLst>
          </p:cNvPr>
          <p:cNvSpPr txBox="1">
            <a:spLocks/>
          </p:cNvSpPr>
          <p:nvPr/>
        </p:nvSpPr>
        <p:spPr>
          <a:xfrm>
            <a:off x="8479062" y="3195755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7" name="Shape1_20180322_094209">
            <a:extLst>
              <a:ext uri="{FF2B5EF4-FFF2-40B4-BE49-F238E27FC236}">
                <a16:creationId xmlns:a16="http://schemas.microsoft.com/office/drawing/2014/main" id="{051694B6-C714-D491-792F-F3FE56B845CB}"/>
              </a:ext>
            </a:extLst>
          </p:cNvPr>
          <p:cNvSpPr txBox="1">
            <a:spLocks/>
          </p:cNvSpPr>
          <p:nvPr/>
        </p:nvSpPr>
        <p:spPr>
          <a:xfrm>
            <a:off x="3171698" y="1576987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8" name="Shape4_20180322_094209">
            <a:extLst>
              <a:ext uri="{FF2B5EF4-FFF2-40B4-BE49-F238E27FC236}">
                <a16:creationId xmlns:a16="http://schemas.microsoft.com/office/drawing/2014/main" id="{95B10D88-3931-DCB3-68B7-27BAE8A9C891}"/>
              </a:ext>
            </a:extLst>
          </p:cNvPr>
          <p:cNvSpPr txBox="1">
            <a:spLocks/>
          </p:cNvSpPr>
          <p:nvPr/>
        </p:nvSpPr>
        <p:spPr>
          <a:xfrm>
            <a:off x="7794694" y="4914312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9" name="Shape5_20180322_094209">
            <a:extLst>
              <a:ext uri="{FF2B5EF4-FFF2-40B4-BE49-F238E27FC236}">
                <a16:creationId xmlns:a16="http://schemas.microsoft.com/office/drawing/2014/main" id="{FD1F98A1-AE96-764E-D6D8-D5375C7F5979}"/>
              </a:ext>
            </a:extLst>
          </p:cNvPr>
          <p:cNvSpPr txBox="1">
            <a:spLocks/>
          </p:cNvSpPr>
          <p:nvPr/>
        </p:nvSpPr>
        <p:spPr>
          <a:xfrm>
            <a:off x="1402417" y="3195755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0" name="Shape7_20180322_094209">
            <a:extLst>
              <a:ext uri="{FF2B5EF4-FFF2-40B4-BE49-F238E27FC236}">
                <a16:creationId xmlns:a16="http://schemas.microsoft.com/office/drawing/2014/main" id="{DD53E6CB-260A-8E2C-3046-2A9F8653733C}"/>
              </a:ext>
            </a:extLst>
          </p:cNvPr>
          <p:cNvSpPr txBox="1">
            <a:spLocks/>
          </p:cNvSpPr>
          <p:nvPr/>
        </p:nvSpPr>
        <p:spPr>
          <a:xfrm>
            <a:off x="1874740" y="4914312"/>
            <a:ext cx="2390908" cy="799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j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</a:t>
            </a:r>
          </a:p>
        </p:txBody>
      </p:sp>
      <p:sp>
        <p:nvSpPr>
          <p:cNvPr id="11" name="Shape 3366">
            <a:extLst>
              <a:ext uri="{FF2B5EF4-FFF2-40B4-BE49-F238E27FC236}">
                <a16:creationId xmlns:a16="http://schemas.microsoft.com/office/drawing/2014/main" id="{6C45E5DB-6164-4FEA-13CE-5E9C96069E6C}"/>
              </a:ext>
            </a:extLst>
          </p:cNvPr>
          <p:cNvSpPr/>
          <p:nvPr/>
        </p:nvSpPr>
        <p:spPr>
          <a:xfrm rot="17796003" flipV="1">
            <a:off x="6568760" y="4507409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3366">
            <a:extLst>
              <a:ext uri="{FF2B5EF4-FFF2-40B4-BE49-F238E27FC236}">
                <a16:creationId xmlns:a16="http://schemas.microsoft.com/office/drawing/2014/main" id="{D993BA6F-81E2-A2C4-1650-B18D1939C52D}"/>
              </a:ext>
            </a:extLst>
          </p:cNvPr>
          <p:cNvSpPr/>
          <p:nvPr/>
        </p:nvSpPr>
        <p:spPr>
          <a:xfrm rot="18842126">
            <a:off x="3891057" y="278907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Shape 3366">
            <a:extLst>
              <a:ext uri="{FF2B5EF4-FFF2-40B4-BE49-F238E27FC236}">
                <a16:creationId xmlns:a16="http://schemas.microsoft.com/office/drawing/2014/main" id="{0F38811B-238C-991B-B758-C9A04F5D6A09}"/>
              </a:ext>
            </a:extLst>
          </p:cNvPr>
          <p:cNvSpPr/>
          <p:nvPr/>
        </p:nvSpPr>
        <p:spPr>
          <a:xfrm rot="13663858" flipV="1">
            <a:off x="7298914" y="2926387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3366">
            <a:extLst>
              <a:ext uri="{FF2B5EF4-FFF2-40B4-BE49-F238E27FC236}">
                <a16:creationId xmlns:a16="http://schemas.microsoft.com/office/drawing/2014/main" id="{BAAB42AD-1076-64CF-5859-A778376E3A85}"/>
              </a:ext>
            </a:extLst>
          </p:cNvPr>
          <p:cNvSpPr/>
          <p:nvPr/>
        </p:nvSpPr>
        <p:spPr>
          <a:xfrm rot="681095" flipV="1">
            <a:off x="4420797" y="4448124"/>
            <a:ext cx="1076150" cy="1154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596" y="30607"/>
                </a:moveTo>
                <a:lnTo>
                  <a:pt x="106596" y="30607"/>
                </a:lnTo>
                <a:cubicBezTo>
                  <a:pt x="90440" y="6896"/>
                  <a:pt x="57636" y="0"/>
                  <a:pt x="32804" y="14384"/>
                </a:cubicBezTo>
                <a:cubicBezTo>
                  <a:pt x="8042" y="29425"/>
                  <a:pt x="0" y="59967"/>
                  <a:pt x="16084" y="83087"/>
                </a:cubicBezTo>
                <a:cubicBezTo>
                  <a:pt x="29417" y="103645"/>
                  <a:pt x="57636" y="111724"/>
                  <a:pt x="81128" y="102397"/>
                </a:cubicBezTo>
                <a:cubicBezTo>
                  <a:pt x="103209" y="119934"/>
                  <a:pt x="103209" y="119934"/>
                  <a:pt x="103209" y="119934"/>
                </a:cubicBezTo>
                <a:cubicBezTo>
                  <a:pt x="97213" y="93727"/>
                  <a:pt x="97213" y="93727"/>
                  <a:pt x="97213" y="93727"/>
                </a:cubicBezTo>
                <a:cubicBezTo>
                  <a:pt x="115908" y="77372"/>
                  <a:pt x="119929" y="51297"/>
                  <a:pt x="106596" y="30607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8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2A72E28-2649-B5AC-4440-CE9BE11B0248}"/>
              </a:ext>
            </a:extLst>
          </p:cNvPr>
          <p:cNvSpPr txBox="1">
            <a:spLocks/>
          </p:cNvSpPr>
          <p:nvPr/>
        </p:nvSpPr>
        <p:spPr>
          <a:xfrm flipH="1">
            <a:off x="5078477" y="4042437"/>
            <a:ext cx="2112156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000" dirty="0">
                <a:latin typeface="+mn-lt"/>
              </a:rPr>
              <a:t>TITLE</a:t>
            </a:r>
          </a:p>
        </p:txBody>
      </p:sp>
      <p:grpSp>
        <p:nvGrpSpPr>
          <p:cNvPr id="16" name="ZenIcon1">
            <a:extLst>
              <a:ext uri="{FF2B5EF4-FFF2-40B4-BE49-F238E27FC236}">
                <a16:creationId xmlns:a16="http://schemas.microsoft.com/office/drawing/2014/main" id="{676FC613-25E0-08CE-09F0-DB53A8BCCF8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681895" y="2921004"/>
            <a:ext cx="905318" cy="905318"/>
            <a:chOff x="5712408" y="975680"/>
            <a:chExt cx="671729" cy="639391"/>
          </a:xfrm>
        </p:grpSpPr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31F45C65-D932-6FC2-74B8-E7CED6A2F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8" name="Freeform 27">
              <a:extLst>
                <a:ext uri="{FF2B5EF4-FFF2-40B4-BE49-F238E27FC236}">
                  <a16:creationId xmlns:a16="http://schemas.microsoft.com/office/drawing/2014/main" id="{F59AA930-0383-8A89-A8AD-080AE07692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DF76AF59-4CE9-D511-B3A4-08B2C89E6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29AB7062-6665-9974-976B-8F624CB3C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0E42324C-1133-6313-3C30-3865FBB32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2" name="Freeform 31">
              <a:extLst>
                <a:ext uri="{FF2B5EF4-FFF2-40B4-BE49-F238E27FC236}">
                  <a16:creationId xmlns:a16="http://schemas.microsoft.com/office/drawing/2014/main" id="{E7B3F25C-62F3-0D3E-3264-6D0CD7C73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grpSp>
        <p:nvGrpSpPr>
          <p:cNvPr id="23" name="ZenIcon1">
            <a:extLst>
              <a:ext uri="{FF2B5EF4-FFF2-40B4-BE49-F238E27FC236}">
                <a16:creationId xmlns:a16="http://schemas.microsoft.com/office/drawing/2014/main" id="{525845BB-DCCB-5637-ADA4-1183A123A518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580983" y="3205643"/>
            <a:ext cx="564430" cy="564430"/>
            <a:chOff x="5712408" y="975680"/>
            <a:chExt cx="671729" cy="639391"/>
          </a:xfrm>
        </p:grpSpPr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15C77C14-D281-AF40-B169-4B224A9F30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408" y="975680"/>
              <a:ext cx="671729" cy="639391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739501B4-40FA-BC2A-5A1A-72FA344539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6917" y="1058042"/>
              <a:ext cx="502713" cy="338119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id="{C72271E5-4306-2198-BFD9-F42A220229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937" y="1404831"/>
              <a:ext cx="62840" cy="65023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8290291-4712-DCDF-1AA0-1E3C48E51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429" y="1190255"/>
              <a:ext cx="84509" cy="88864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5087E546-CC15-C860-D307-DD38E7DCD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605" y="1175084"/>
              <a:ext cx="43337" cy="119208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475947BE-B12D-81EF-F4E6-DBEBF3422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776" y="1190255"/>
              <a:ext cx="82341" cy="88864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  <a:latin typeface="Lato Light"/>
              </a:endParaRPr>
            </a:p>
          </p:txBody>
        </p:sp>
      </p:grpSp>
      <p:sp>
        <p:nvSpPr>
          <p:cNvPr id="30" name="ZenIcon2">
            <a:extLst>
              <a:ext uri="{FF2B5EF4-FFF2-40B4-BE49-F238E27FC236}">
                <a16:creationId xmlns:a16="http://schemas.microsoft.com/office/drawing/2014/main" id="{37CC6889-608A-0E1D-2D4A-1C4826AF0DEB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4669074" y="4755402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1" name="ZenIcon2">
            <a:extLst>
              <a:ext uri="{FF2B5EF4-FFF2-40B4-BE49-F238E27FC236}">
                <a16:creationId xmlns:a16="http://schemas.microsoft.com/office/drawing/2014/main" id="{256EFF5A-3339-B94E-6851-41D14C86938D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870627" y="4771163"/>
            <a:ext cx="564430" cy="564430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sp>
        <p:nvSpPr>
          <p:cNvPr id="32" name="ZenIcon3">
            <a:extLst>
              <a:ext uri="{FF2B5EF4-FFF2-40B4-BE49-F238E27FC236}">
                <a16:creationId xmlns:a16="http://schemas.microsoft.com/office/drawing/2014/main" id="{549B7A5B-E475-7D88-0C10-03C396D21E89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4123158" y="3047382"/>
            <a:ext cx="564430" cy="565835"/>
          </a:xfrm>
          <a:custGeom>
            <a:avLst/>
            <a:gdLst>
              <a:gd name="T0" fmla="*/ 1698 w 2448"/>
              <a:gd name="T1" fmla="*/ 97 h 2446"/>
              <a:gd name="T2" fmla="*/ 748 w 2448"/>
              <a:gd name="T3" fmla="*/ 97 h 2446"/>
              <a:gd name="T4" fmla="*/ 0 w 2448"/>
              <a:gd name="T5" fmla="*/ 1222 h 2446"/>
              <a:gd name="T6" fmla="*/ 748 w 2448"/>
              <a:gd name="T7" fmla="*/ 2349 h 2446"/>
              <a:gd name="T8" fmla="*/ 1698 w 2448"/>
              <a:gd name="T9" fmla="*/ 2349 h 2446"/>
              <a:gd name="T10" fmla="*/ 2448 w 2448"/>
              <a:gd name="T11" fmla="*/ 1222 h 2446"/>
              <a:gd name="T12" fmla="*/ 816 w 2448"/>
              <a:gd name="T13" fmla="*/ 227 h 2446"/>
              <a:gd name="T14" fmla="*/ 264 w 2448"/>
              <a:gd name="T15" fmla="*/ 737 h 2446"/>
              <a:gd name="T16" fmla="*/ 149 w 2448"/>
              <a:gd name="T17" fmla="*/ 1222 h 2446"/>
              <a:gd name="T18" fmla="*/ 554 w 2448"/>
              <a:gd name="T19" fmla="*/ 884 h 2446"/>
              <a:gd name="T20" fmla="*/ 554 w 2448"/>
              <a:gd name="T21" fmla="*/ 1556 h 2446"/>
              <a:gd name="T22" fmla="*/ 149 w 2448"/>
              <a:gd name="T23" fmla="*/ 1222 h 2446"/>
              <a:gd name="T24" fmla="*/ 584 w 2448"/>
              <a:gd name="T25" fmla="*/ 1704 h 2446"/>
              <a:gd name="T26" fmla="*/ 264 w 2448"/>
              <a:gd name="T27" fmla="*/ 1704 h 2446"/>
              <a:gd name="T28" fmla="*/ 906 w 2448"/>
              <a:gd name="T29" fmla="*/ 2092 h 2446"/>
              <a:gd name="T30" fmla="*/ 1148 w 2448"/>
              <a:gd name="T31" fmla="*/ 1704 h 2446"/>
              <a:gd name="T32" fmla="*/ 1148 w 2448"/>
              <a:gd name="T33" fmla="*/ 1556 h 2446"/>
              <a:gd name="T34" fmla="*/ 677 w 2448"/>
              <a:gd name="T35" fmla="*/ 1222 h 2446"/>
              <a:gd name="T36" fmla="*/ 1148 w 2448"/>
              <a:gd name="T37" fmla="*/ 884 h 2446"/>
              <a:gd name="T38" fmla="*/ 1148 w 2448"/>
              <a:gd name="T39" fmla="*/ 737 h 2446"/>
              <a:gd name="T40" fmla="*/ 909 w 2448"/>
              <a:gd name="T41" fmla="*/ 353 h 2446"/>
              <a:gd name="T42" fmla="*/ 1148 w 2448"/>
              <a:gd name="T43" fmla="*/ 737 h 2446"/>
              <a:gd name="T44" fmla="*/ 1864 w 2448"/>
              <a:gd name="T45" fmla="*/ 737 h 2446"/>
              <a:gd name="T46" fmla="*/ 2184 w 2448"/>
              <a:gd name="T47" fmla="*/ 737 h 2446"/>
              <a:gd name="T48" fmla="*/ 1539 w 2448"/>
              <a:gd name="T49" fmla="*/ 353 h 2446"/>
              <a:gd name="T50" fmla="*/ 1300 w 2448"/>
              <a:gd name="T51" fmla="*/ 737 h 2446"/>
              <a:gd name="T52" fmla="*/ 1300 w 2448"/>
              <a:gd name="T53" fmla="*/ 884 h 2446"/>
              <a:gd name="T54" fmla="*/ 1771 w 2448"/>
              <a:gd name="T55" fmla="*/ 1222 h 2446"/>
              <a:gd name="T56" fmla="*/ 1300 w 2448"/>
              <a:gd name="T57" fmla="*/ 1556 h 2446"/>
              <a:gd name="T58" fmla="*/ 1300 w 2448"/>
              <a:gd name="T59" fmla="*/ 2286 h 2446"/>
              <a:gd name="T60" fmla="*/ 1711 w 2448"/>
              <a:gd name="T61" fmla="*/ 1704 h 2446"/>
              <a:gd name="T62" fmla="*/ 1300 w 2448"/>
              <a:gd name="T63" fmla="*/ 2286 h 2446"/>
              <a:gd name="T64" fmla="*/ 1864 w 2448"/>
              <a:gd name="T65" fmla="*/ 1704 h 2446"/>
              <a:gd name="T66" fmla="*/ 1632 w 2448"/>
              <a:gd name="T67" fmla="*/ 2219 h 2446"/>
              <a:gd name="T68" fmla="*/ 1894 w 2448"/>
              <a:gd name="T69" fmla="*/ 1556 h 2446"/>
              <a:gd name="T70" fmla="*/ 1894 w 2448"/>
              <a:gd name="T71" fmla="*/ 884 h 2446"/>
              <a:gd name="T72" fmla="*/ 2299 w 2448"/>
              <a:gd name="T73" fmla="*/ 1222 h 2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48" h="2446">
                <a:moveTo>
                  <a:pt x="2350" y="747"/>
                </a:moveTo>
                <a:cubicBezTo>
                  <a:pt x="2221" y="446"/>
                  <a:pt x="2002" y="227"/>
                  <a:pt x="1698" y="97"/>
                </a:cubicBezTo>
                <a:cubicBezTo>
                  <a:pt x="1547" y="33"/>
                  <a:pt x="1389" y="0"/>
                  <a:pt x="1223" y="0"/>
                </a:cubicBezTo>
                <a:cubicBezTo>
                  <a:pt x="1057" y="0"/>
                  <a:pt x="900" y="32"/>
                  <a:pt x="748" y="97"/>
                </a:cubicBezTo>
                <a:cubicBezTo>
                  <a:pt x="447" y="226"/>
                  <a:pt x="226" y="445"/>
                  <a:pt x="96" y="747"/>
                </a:cubicBezTo>
                <a:cubicBezTo>
                  <a:pt x="32" y="898"/>
                  <a:pt x="0" y="1056"/>
                  <a:pt x="0" y="1222"/>
                </a:cubicBezTo>
                <a:cubicBezTo>
                  <a:pt x="0" y="1388"/>
                  <a:pt x="32" y="1547"/>
                  <a:pt x="96" y="1698"/>
                </a:cubicBezTo>
                <a:cubicBezTo>
                  <a:pt x="226" y="2000"/>
                  <a:pt x="447" y="2220"/>
                  <a:pt x="748" y="2349"/>
                </a:cubicBezTo>
                <a:cubicBezTo>
                  <a:pt x="900" y="2414"/>
                  <a:pt x="1057" y="2446"/>
                  <a:pt x="1223" y="2446"/>
                </a:cubicBezTo>
                <a:cubicBezTo>
                  <a:pt x="1389" y="2446"/>
                  <a:pt x="1547" y="2413"/>
                  <a:pt x="1698" y="2349"/>
                </a:cubicBezTo>
                <a:cubicBezTo>
                  <a:pt x="2002" y="2219"/>
                  <a:pt x="2221" y="1999"/>
                  <a:pt x="2350" y="1698"/>
                </a:cubicBezTo>
                <a:cubicBezTo>
                  <a:pt x="2415" y="1547"/>
                  <a:pt x="2448" y="1388"/>
                  <a:pt x="2448" y="1222"/>
                </a:cubicBezTo>
                <a:cubicBezTo>
                  <a:pt x="2448" y="1056"/>
                  <a:pt x="2415" y="898"/>
                  <a:pt x="2350" y="747"/>
                </a:cubicBezTo>
                <a:close/>
                <a:moveTo>
                  <a:pt x="816" y="227"/>
                </a:moveTo>
                <a:cubicBezTo>
                  <a:pt x="711" y="361"/>
                  <a:pt x="633" y="531"/>
                  <a:pt x="584" y="737"/>
                </a:cubicBezTo>
                <a:cubicBezTo>
                  <a:pt x="264" y="737"/>
                  <a:pt x="264" y="737"/>
                  <a:pt x="264" y="737"/>
                </a:cubicBezTo>
                <a:cubicBezTo>
                  <a:pt x="381" y="508"/>
                  <a:pt x="580" y="325"/>
                  <a:pt x="816" y="227"/>
                </a:cubicBezTo>
                <a:close/>
                <a:moveTo>
                  <a:pt x="149" y="1222"/>
                </a:moveTo>
                <a:cubicBezTo>
                  <a:pt x="149" y="1105"/>
                  <a:pt x="167" y="993"/>
                  <a:pt x="203" y="884"/>
                </a:cubicBezTo>
                <a:cubicBezTo>
                  <a:pt x="554" y="884"/>
                  <a:pt x="554" y="884"/>
                  <a:pt x="554" y="884"/>
                </a:cubicBezTo>
                <a:cubicBezTo>
                  <a:pt x="537" y="998"/>
                  <a:pt x="529" y="1111"/>
                  <a:pt x="529" y="1222"/>
                </a:cubicBezTo>
                <a:cubicBezTo>
                  <a:pt x="529" y="1331"/>
                  <a:pt x="537" y="1443"/>
                  <a:pt x="554" y="1556"/>
                </a:cubicBezTo>
                <a:cubicBezTo>
                  <a:pt x="201" y="1556"/>
                  <a:pt x="201" y="1556"/>
                  <a:pt x="201" y="1556"/>
                </a:cubicBezTo>
                <a:cubicBezTo>
                  <a:pt x="166" y="1448"/>
                  <a:pt x="149" y="1335"/>
                  <a:pt x="149" y="1222"/>
                </a:cubicBezTo>
                <a:close/>
                <a:moveTo>
                  <a:pt x="264" y="1704"/>
                </a:moveTo>
                <a:cubicBezTo>
                  <a:pt x="584" y="1704"/>
                  <a:pt x="584" y="1704"/>
                  <a:pt x="584" y="1704"/>
                </a:cubicBezTo>
                <a:cubicBezTo>
                  <a:pt x="633" y="1914"/>
                  <a:pt x="711" y="2086"/>
                  <a:pt x="816" y="2219"/>
                </a:cubicBezTo>
                <a:cubicBezTo>
                  <a:pt x="576" y="2118"/>
                  <a:pt x="377" y="1935"/>
                  <a:pt x="264" y="1704"/>
                </a:cubicBezTo>
                <a:close/>
                <a:moveTo>
                  <a:pt x="1148" y="2286"/>
                </a:moveTo>
                <a:cubicBezTo>
                  <a:pt x="1061" y="2260"/>
                  <a:pt x="980" y="2196"/>
                  <a:pt x="906" y="2092"/>
                </a:cubicBezTo>
                <a:cubicBezTo>
                  <a:pt x="833" y="1987"/>
                  <a:pt x="776" y="1857"/>
                  <a:pt x="737" y="1704"/>
                </a:cubicBezTo>
                <a:cubicBezTo>
                  <a:pt x="1148" y="1704"/>
                  <a:pt x="1148" y="1704"/>
                  <a:pt x="1148" y="1704"/>
                </a:cubicBezTo>
                <a:lnTo>
                  <a:pt x="1148" y="2286"/>
                </a:lnTo>
                <a:close/>
                <a:moveTo>
                  <a:pt x="1148" y="1556"/>
                </a:moveTo>
                <a:cubicBezTo>
                  <a:pt x="704" y="1556"/>
                  <a:pt x="704" y="1556"/>
                  <a:pt x="704" y="1556"/>
                </a:cubicBezTo>
                <a:cubicBezTo>
                  <a:pt x="687" y="1437"/>
                  <a:pt x="677" y="1326"/>
                  <a:pt x="677" y="1222"/>
                </a:cubicBezTo>
                <a:cubicBezTo>
                  <a:pt x="677" y="1109"/>
                  <a:pt x="687" y="997"/>
                  <a:pt x="707" y="884"/>
                </a:cubicBezTo>
                <a:cubicBezTo>
                  <a:pt x="1148" y="884"/>
                  <a:pt x="1148" y="884"/>
                  <a:pt x="1148" y="884"/>
                </a:cubicBezTo>
                <a:cubicBezTo>
                  <a:pt x="1148" y="1556"/>
                  <a:pt x="1148" y="1556"/>
                  <a:pt x="1148" y="1556"/>
                </a:cubicBezTo>
                <a:close/>
                <a:moveTo>
                  <a:pt x="1148" y="737"/>
                </a:moveTo>
                <a:cubicBezTo>
                  <a:pt x="737" y="737"/>
                  <a:pt x="737" y="737"/>
                  <a:pt x="737" y="737"/>
                </a:cubicBezTo>
                <a:cubicBezTo>
                  <a:pt x="779" y="585"/>
                  <a:pt x="836" y="456"/>
                  <a:pt x="909" y="353"/>
                </a:cubicBezTo>
                <a:cubicBezTo>
                  <a:pt x="983" y="249"/>
                  <a:pt x="1061" y="184"/>
                  <a:pt x="1148" y="160"/>
                </a:cubicBezTo>
                <a:cubicBezTo>
                  <a:pt x="1148" y="737"/>
                  <a:pt x="1148" y="737"/>
                  <a:pt x="1148" y="737"/>
                </a:cubicBezTo>
                <a:close/>
                <a:moveTo>
                  <a:pt x="2184" y="737"/>
                </a:moveTo>
                <a:cubicBezTo>
                  <a:pt x="1864" y="737"/>
                  <a:pt x="1864" y="737"/>
                  <a:pt x="1864" y="737"/>
                </a:cubicBezTo>
                <a:cubicBezTo>
                  <a:pt x="1815" y="531"/>
                  <a:pt x="1737" y="361"/>
                  <a:pt x="1632" y="227"/>
                </a:cubicBezTo>
                <a:cubicBezTo>
                  <a:pt x="1868" y="325"/>
                  <a:pt x="2067" y="508"/>
                  <a:pt x="2184" y="737"/>
                </a:cubicBezTo>
                <a:close/>
                <a:moveTo>
                  <a:pt x="1300" y="160"/>
                </a:moveTo>
                <a:cubicBezTo>
                  <a:pt x="1387" y="184"/>
                  <a:pt x="1465" y="249"/>
                  <a:pt x="1539" y="353"/>
                </a:cubicBezTo>
                <a:cubicBezTo>
                  <a:pt x="1613" y="456"/>
                  <a:pt x="1669" y="585"/>
                  <a:pt x="1711" y="737"/>
                </a:cubicBezTo>
                <a:cubicBezTo>
                  <a:pt x="1300" y="737"/>
                  <a:pt x="1300" y="737"/>
                  <a:pt x="1300" y="737"/>
                </a:cubicBezTo>
                <a:lnTo>
                  <a:pt x="1300" y="160"/>
                </a:lnTo>
                <a:close/>
                <a:moveTo>
                  <a:pt x="1300" y="884"/>
                </a:moveTo>
                <a:cubicBezTo>
                  <a:pt x="1741" y="884"/>
                  <a:pt x="1741" y="884"/>
                  <a:pt x="1741" y="884"/>
                </a:cubicBezTo>
                <a:cubicBezTo>
                  <a:pt x="1761" y="997"/>
                  <a:pt x="1771" y="1109"/>
                  <a:pt x="1771" y="1222"/>
                </a:cubicBezTo>
                <a:cubicBezTo>
                  <a:pt x="1771" y="1326"/>
                  <a:pt x="1761" y="1437"/>
                  <a:pt x="1744" y="1556"/>
                </a:cubicBezTo>
                <a:cubicBezTo>
                  <a:pt x="1300" y="1556"/>
                  <a:pt x="1300" y="1556"/>
                  <a:pt x="1300" y="1556"/>
                </a:cubicBezTo>
                <a:lnTo>
                  <a:pt x="1300" y="884"/>
                </a:lnTo>
                <a:close/>
                <a:moveTo>
                  <a:pt x="1300" y="2286"/>
                </a:moveTo>
                <a:cubicBezTo>
                  <a:pt x="1300" y="1704"/>
                  <a:pt x="1300" y="1704"/>
                  <a:pt x="1300" y="1704"/>
                </a:cubicBezTo>
                <a:cubicBezTo>
                  <a:pt x="1711" y="1704"/>
                  <a:pt x="1711" y="1704"/>
                  <a:pt x="1711" y="1704"/>
                </a:cubicBezTo>
                <a:cubicBezTo>
                  <a:pt x="1670" y="1857"/>
                  <a:pt x="1613" y="1987"/>
                  <a:pt x="1541" y="2092"/>
                </a:cubicBezTo>
                <a:cubicBezTo>
                  <a:pt x="1467" y="2197"/>
                  <a:pt x="1388" y="2262"/>
                  <a:pt x="1300" y="2286"/>
                </a:cubicBezTo>
                <a:close/>
                <a:moveTo>
                  <a:pt x="1632" y="2219"/>
                </a:moveTo>
                <a:cubicBezTo>
                  <a:pt x="1737" y="2086"/>
                  <a:pt x="1815" y="1914"/>
                  <a:pt x="1864" y="1704"/>
                </a:cubicBezTo>
                <a:cubicBezTo>
                  <a:pt x="2184" y="1704"/>
                  <a:pt x="2184" y="1704"/>
                  <a:pt x="2184" y="1704"/>
                </a:cubicBezTo>
                <a:cubicBezTo>
                  <a:pt x="2071" y="1935"/>
                  <a:pt x="1872" y="2118"/>
                  <a:pt x="1632" y="2219"/>
                </a:cubicBezTo>
                <a:close/>
                <a:moveTo>
                  <a:pt x="2247" y="1556"/>
                </a:moveTo>
                <a:cubicBezTo>
                  <a:pt x="1894" y="1556"/>
                  <a:pt x="1894" y="1556"/>
                  <a:pt x="1894" y="1556"/>
                </a:cubicBezTo>
                <a:cubicBezTo>
                  <a:pt x="1911" y="1443"/>
                  <a:pt x="1919" y="1331"/>
                  <a:pt x="1919" y="1222"/>
                </a:cubicBezTo>
                <a:cubicBezTo>
                  <a:pt x="1919" y="1111"/>
                  <a:pt x="1911" y="998"/>
                  <a:pt x="1894" y="884"/>
                </a:cubicBezTo>
                <a:cubicBezTo>
                  <a:pt x="2245" y="884"/>
                  <a:pt x="2245" y="884"/>
                  <a:pt x="2245" y="884"/>
                </a:cubicBezTo>
                <a:cubicBezTo>
                  <a:pt x="2281" y="993"/>
                  <a:pt x="2299" y="1105"/>
                  <a:pt x="2299" y="1222"/>
                </a:cubicBezTo>
                <a:cubicBezTo>
                  <a:pt x="2299" y="1335"/>
                  <a:pt x="2282" y="1448"/>
                  <a:pt x="2247" y="15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3" name="ZenIcon4">
            <a:extLst>
              <a:ext uri="{FF2B5EF4-FFF2-40B4-BE49-F238E27FC236}">
                <a16:creationId xmlns:a16="http://schemas.microsoft.com/office/drawing/2014/main" id="{2349A768-2FF9-DD11-CA57-8EB796D38B18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5854626" y="1472152"/>
            <a:ext cx="564430" cy="564430"/>
            <a:chOff x="-4769427" y="-314325"/>
            <a:chExt cx="4660901" cy="4576762"/>
          </a:xfrm>
        </p:grpSpPr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3DB94068-1BF0-FCBE-B3F6-AA14F87C5D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09077" y="-314325"/>
              <a:ext cx="4138613" cy="3956050"/>
            </a:xfrm>
            <a:custGeom>
              <a:avLst/>
              <a:gdLst>
                <a:gd name="T0" fmla="*/ 2128 w 2188"/>
                <a:gd name="T1" fmla="*/ 946 h 2085"/>
                <a:gd name="T2" fmla="*/ 2169 w 2188"/>
                <a:gd name="T3" fmla="*/ 781 h 2085"/>
                <a:gd name="T4" fmla="*/ 2038 w 2188"/>
                <a:gd name="T5" fmla="*/ 671 h 2085"/>
                <a:gd name="T6" fmla="*/ 1503 w 2188"/>
                <a:gd name="T7" fmla="*/ 593 h 2085"/>
                <a:gd name="T8" fmla="*/ 1478 w 2188"/>
                <a:gd name="T9" fmla="*/ 576 h 2085"/>
                <a:gd name="T10" fmla="*/ 1239 w 2188"/>
                <a:gd name="T11" fmla="*/ 90 h 2085"/>
                <a:gd name="T12" fmla="*/ 1094 w 2188"/>
                <a:gd name="T13" fmla="*/ 0 h 2085"/>
                <a:gd name="T14" fmla="*/ 949 w 2188"/>
                <a:gd name="T15" fmla="*/ 90 h 2085"/>
                <a:gd name="T16" fmla="*/ 710 w 2188"/>
                <a:gd name="T17" fmla="*/ 576 h 2085"/>
                <a:gd name="T18" fmla="*/ 685 w 2188"/>
                <a:gd name="T19" fmla="*/ 593 h 2085"/>
                <a:gd name="T20" fmla="*/ 150 w 2188"/>
                <a:gd name="T21" fmla="*/ 671 h 2085"/>
                <a:gd name="T22" fmla="*/ 19 w 2188"/>
                <a:gd name="T23" fmla="*/ 781 h 2085"/>
                <a:gd name="T24" fmla="*/ 60 w 2188"/>
                <a:gd name="T25" fmla="*/ 946 h 2085"/>
                <a:gd name="T26" fmla="*/ 448 w 2188"/>
                <a:gd name="T27" fmla="*/ 1324 h 2085"/>
                <a:gd name="T28" fmla="*/ 457 w 2188"/>
                <a:gd name="T29" fmla="*/ 1353 h 2085"/>
                <a:gd name="T30" fmla="*/ 366 w 2188"/>
                <a:gd name="T31" fmla="*/ 1886 h 2085"/>
                <a:gd name="T32" fmla="*/ 430 w 2188"/>
                <a:gd name="T33" fmla="*/ 2044 h 2085"/>
                <a:gd name="T34" fmla="*/ 600 w 2188"/>
                <a:gd name="T35" fmla="*/ 2056 h 2085"/>
                <a:gd name="T36" fmla="*/ 1079 w 2188"/>
                <a:gd name="T37" fmla="*/ 1805 h 2085"/>
                <a:gd name="T38" fmla="*/ 1109 w 2188"/>
                <a:gd name="T39" fmla="*/ 1805 h 2085"/>
                <a:gd name="T40" fmla="*/ 1588 w 2188"/>
                <a:gd name="T41" fmla="*/ 2056 h 2085"/>
                <a:gd name="T42" fmla="*/ 1663 w 2188"/>
                <a:gd name="T43" fmla="*/ 2075 h 2085"/>
                <a:gd name="T44" fmla="*/ 1758 w 2188"/>
                <a:gd name="T45" fmla="*/ 2044 h 2085"/>
                <a:gd name="T46" fmla="*/ 1822 w 2188"/>
                <a:gd name="T47" fmla="*/ 1886 h 2085"/>
                <a:gd name="T48" fmla="*/ 1731 w 2188"/>
                <a:gd name="T49" fmla="*/ 1353 h 2085"/>
                <a:gd name="T50" fmla="*/ 1740 w 2188"/>
                <a:gd name="T51" fmla="*/ 1324 h 2085"/>
                <a:gd name="T52" fmla="*/ 2128 w 2188"/>
                <a:gd name="T53" fmla="*/ 946 h 2085"/>
                <a:gd name="T54" fmla="*/ 1604 w 2188"/>
                <a:gd name="T55" fmla="*/ 1375 h 2085"/>
                <a:gd name="T56" fmla="*/ 1695 w 2188"/>
                <a:gd name="T57" fmla="*/ 1908 h 2085"/>
                <a:gd name="T58" fmla="*/ 1682 w 2188"/>
                <a:gd name="T59" fmla="*/ 1940 h 2085"/>
                <a:gd name="T60" fmla="*/ 1648 w 2188"/>
                <a:gd name="T61" fmla="*/ 1942 h 2085"/>
                <a:gd name="T62" fmla="*/ 1169 w 2188"/>
                <a:gd name="T63" fmla="*/ 1690 h 2085"/>
                <a:gd name="T64" fmla="*/ 1094 w 2188"/>
                <a:gd name="T65" fmla="*/ 1672 h 2085"/>
                <a:gd name="T66" fmla="*/ 1019 w 2188"/>
                <a:gd name="T67" fmla="*/ 1690 h 2085"/>
                <a:gd name="T68" fmla="*/ 540 w 2188"/>
                <a:gd name="T69" fmla="*/ 1942 h 2085"/>
                <a:gd name="T70" fmla="*/ 506 w 2188"/>
                <a:gd name="T71" fmla="*/ 1940 h 2085"/>
                <a:gd name="T72" fmla="*/ 493 w 2188"/>
                <a:gd name="T73" fmla="*/ 1908 h 2085"/>
                <a:gd name="T74" fmla="*/ 584 w 2188"/>
                <a:gd name="T75" fmla="*/ 1375 h 2085"/>
                <a:gd name="T76" fmla="*/ 538 w 2188"/>
                <a:gd name="T77" fmla="*/ 1232 h 2085"/>
                <a:gd name="T78" fmla="*/ 150 w 2188"/>
                <a:gd name="T79" fmla="*/ 854 h 2085"/>
                <a:gd name="T80" fmla="*/ 142 w 2188"/>
                <a:gd name="T81" fmla="*/ 821 h 2085"/>
                <a:gd name="T82" fmla="*/ 168 w 2188"/>
                <a:gd name="T83" fmla="*/ 799 h 2085"/>
                <a:gd name="T84" fmla="*/ 704 w 2188"/>
                <a:gd name="T85" fmla="*/ 721 h 2085"/>
                <a:gd name="T86" fmla="*/ 826 w 2188"/>
                <a:gd name="T87" fmla="*/ 633 h 2085"/>
                <a:gd name="T88" fmla="*/ 1065 w 2188"/>
                <a:gd name="T89" fmla="*/ 147 h 2085"/>
                <a:gd name="T90" fmla="*/ 1094 w 2188"/>
                <a:gd name="T91" fmla="*/ 129 h 2085"/>
                <a:gd name="T92" fmla="*/ 1123 w 2188"/>
                <a:gd name="T93" fmla="*/ 147 h 2085"/>
                <a:gd name="T94" fmla="*/ 1123 w 2188"/>
                <a:gd name="T95" fmla="*/ 147 h 2085"/>
                <a:gd name="T96" fmla="*/ 1363 w 2188"/>
                <a:gd name="T97" fmla="*/ 633 h 2085"/>
                <a:gd name="T98" fmla="*/ 1484 w 2188"/>
                <a:gd name="T99" fmla="*/ 721 h 2085"/>
                <a:gd name="T100" fmla="*/ 2020 w 2188"/>
                <a:gd name="T101" fmla="*/ 799 h 2085"/>
                <a:gd name="T102" fmla="*/ 2046 w 2188"/>
                <a:gd name="T103" fmla="*/ 821 h 2085"/>
                <a:gd name="T104" fmla="*/ 2038 w 2188"/>
                <a:gd name="T105" fmla="*/ 854 h 2085"/>
                <a:gd name="T106" fmla="*/ 1650 w 2188"/>
                <a:gd name="T107" fmla="*/ 1232 h 2085"/>
                <a:gd name="T108" fmla="*/ 1604 w 2188"/>
                <a:gd name="T109" fmla="*/ 1375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8" h="2085">
                  <a:moveTo>
                    <a:pt x="2128" y="946"/>
                  </a:moveTo>
                  <a:cubicBezTo>
                    <a:pt x="2172" y="903"/>
                    <a:pt x="2188" y="840"/>
                    <a:pt x="2169" y="781"/>
                  </a:cubicBezTo>
                  <a:cubicBezTo>
                    <a:pt x="2149" y="722"/>
                    <a:pt x="2100" y="680"/>
                    <a:pt x="2038" y="671"/>
                  </a:cubicBezTo>
                  <a:cubicBezTo>
                    <a:pt x="1503" y="593"/>
                    <a:pt x="1503" y="593"/>
                    <a:pt x="1503" y="593"/>
                  </a:cubicBezTo>
                  <a:cubicBezTo>
                    <a:pt x="1492" y="592"/>
                    <a:pt x="1483" y="585"/>
                    <a:pt x="1478" y="576"/>
                  </a:cubicBezTo>
                  <a:cubicBezTo>
                    <a:pt x="1239" y="90"/>
                    <a:pt x="1239" y="90"/>
                    <a:pt x="1239" y="90"/>
                  </a:cubicBezTo>
                  <a:cubicBezTo>
                    <a:pt x="1211" y="35"/>
                    <a:pt x="1156" y="0"/>
                    <a:pt x="1094" y="0"/>
                  </a:cubicBezTo>
                  <a:cubicBezTo>
                    <a:pt x="1032" y="0"/>
                    <a:pt x="977" y="35"/>
                    <a:pt x="949" y="90"/>
                  </a:cubicBezTo>
                  <a:cubicBezTo>
                    <a:pt x="710" y="576"/>
                    <a:pt x="710" y="576"/>
                    <a:pt x="710" y="576"/>
                  </a:cubicBezTo>
                  <a:cubicBezTo>
                    <a:pt x="705" y="585"/>
                    <a:pt x="696" y="592"/>
                    <a:pt x="685" y="593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88" y="680"/>
                    <a:pt x="39" y="722"/>
                    <a:pt x="19" y="781"/>
                  </a:cubicBezTo>
                  <a:cubicBezTo>
                    <a:pt x="0" y="840"/>
                    <a:pt x="16" y="903"/>
                    <a:pt x="60" y="946"/>
                  </a:cubicBezTo>
                  <a:cubicBezTo>
                    <a:pt x="448" y="1324"/>
                    <a:pt x="448" y="1324"/>
                    <a:pt x="448" y="1324"/>
                  </a:cubicBezTo>
                  <a:cubicBezTo>
                    <a:pt x="455" y="1332"/>
                    <a:pt x="459" y="1342"/>
                    <a:pt x="457" y="1353"/>
                  </a:cubicBezTo>
                  <a:cubicBezTo>
                    <a:pt x="366" y="1886"/>
                    <a:pt x="366" y="1886"/>
                    <a:pt x="366" y="1886"/>
                  </a:cubicBezTo>
                  <a:cubicBezTo>
                    <a:pt x="355" y="1947"/>
                    <a:pt x="380" y="2008"/>
                    <a:pt x="430" y="2044"/>
                  </a:cubicBezTo>
                  <a:cubicBezTo>
                    <a:pt x="480" y="2081"/>
                    <a:pt x="545" y="2085"/>
                    <a:pt x="600" y="2056"/>
                  </a:cubicBezTo>
                  <a:cubicBezTo>
                    <a:pt x="1079" y="1805"/>
                    <a:pt x="1079" y="1805"/>
                    <a:pt x="1079" y="1805"/>
                  </a:cubicBezTo>
                  <a:cubicBezTo>
                    <a:pt x="1088" y="1800"/>
                    <a:pt x="1100" y="1800"/>
                    <a:pt x="1109" y="1805"/>
                  </a:cubicBezTo>
                  <a:cubicBezTo>
                    <a:pt x="1588" y="2056"/>
                    <a:pt x="1588" y="2056"/>
                    <a:pt x="1588" y="2056"/>
                  </a:cubicBezTo>
                  <a:cubicBezTo>
                    <a:pt x="1612" y="2069"/>
                    <a:pt x="1638" y="2075"/>
                    <a:pt x="1663" y="2075"/>
                  </a:cubicBezTo>
                  <a:cubicBezTo>
                    <a:pt x="1697" y="2075"/>
                    <a:pt x="1730" y="2065"/>
                    <a:pt x="1758" y="2044"/>
                  </a:cubicBezTo>
                  <a:cubicBezTo>
                    <a:pt x="1808" y="2008"/>
                    <a:pt x="1833" y="1947"/>
                    <a:pt x="1822" y="1886"/>
                  </a:cubicBezTo>
                  <a:cubicBezTo>
                    <a:pt x="1731" y="1353"/>
                    <a:pt x="1731" y="1353"/>
                    <a:pt x="1731" y="1353"/>
                  </a:cubicBezTo>
                  <a:cubicBezTo>
                    <a:pt x="1729" y="1342"/>
                    <a:pt x="1733" y="1332"/>
                    <a:pt x="1740" y="1324"/>
                  </a:cubicBezTo>
                  <a:lnTo>
                    <a:pt x="2128" y="946"/>
                  </a:lnTo>
                  <a:close/>
                  <a:moveTo>
                    <a:pt x="1604" y="1375"/>
                  </a:moveTo>
                  <a:cubicBezTo>
                    <a:pt x="1695" y="1908"/>
                    <a:pt x="1695" y="1908"/>
                    <a:pt x="1695" y="1908"/>
                  </a:cubicBezTo>
                  <a:cubicBezTo>
                    <a:pt x="1698" y="1926"/>
                    <a:pt x="1687" y="1936"/>
                    <a:pt x="1682" y="1940"/>
                  </a:cubicBezTo>
                  <a:cubicBezTo>
                    <a:pt x="1677" y="1943"/>
                    <a:pt x="1664" y="1951"/>
                    <a:pt x="1648" y="1942"/>
                  </a:cubicBezTo>
                  <a:cubicBezTo>
                    <a:pt x="1169" y="1690"/>
                    <a:pt x="1169" y="1690"/>
                    <a:pt x="1169" y="1690"/>
                  </a:cubicBezTo>
                  <a:cubicBezTo>
                    <a:pt x="1146" y="1678"/>
                    <a:pt x="1120" y="1672"/>
                    <a:pt x="1094" y="1672"/>
                  </a:cubicBezTo>
                  <a:cubicBezTo>
                    <a:pt x="1068" y="1672"/>
                    <a:pt x="1042" y="1678"/>
                    <a:pt x="1019" y="1690"/>
                  </a:cubicBezTo>
                  <a:cubicBezTo>
                    <a:pt x="540" y="1942"/>
                    <a:pt x="540" y="1942"/>
                    <a:pt x="540" y="1942"/>
                  </a:cubicBezTo>
                  <a:cubicBezTo>
                    <a:pt x="524" y="1951"/>
                    <a:pt x="511" y="1943"/>
                    <a:pt x="506" y="1940"/>
                  </a:cubicBezTo>
                  <a:cubicBezTo>
                    <a:pt x="501" y="1936"/>
                    <a:pt x="490" y="1926"/>
                    <a:pt x="493" y="1908"/>
                  </a:cubicBezTo>
                  <a:cubicBezTo>
                    <a:pt x="584" y="1375"/>
                    <a:pt x="584" y="1375"/>
                    <a:pt x="584" y="1375"/>
                  </a:cubicBezTo>
                  <a:cubicBezTo>
                    <a:pt x="593" y="1322"/>
                    <a:pt x="576" y="1269"/>
                    <a:pt x="538" y="1232"/>
                  </a:cubicBezTo>
                  <a:cubicBezTo>
                    <a:pt x="150" y="854"/>
                    <a:pt x="150" y="854"/>
                    <a:pt x="150" y="854"/>
                  </a:cubicBezTo>
                  <a:cubicBezTo>
                    <a:pt x="137" y="841"/>
                    <a:pt x="140" y="827"/>
                    <a:pt x="142" y="821"/>
                  </a:cubicBezTo>
                  <a:cubicBezTo>
                    <a:pt x="144" y="815"/>
                    <a:pt x="150" y="801"/>
                    <a:pt x="168" y="799"/>
                  </a:cubicBezTo>
                  <a:cubicBezTo>
                    <a:pt x="704" y="721"/>
                    <a:pt x="704" y="721"/>
                    <a:pt x="704" y="721"/>
                  </a:cubicBezTo>
                  <a:cubicBezTo>
                    <a:pt x="757" y="713"/>
                    <a:pt x="802" y="680"/>
                    <a:pt x="826" y="633"/>
                  </a:cubicBezTo>
                  <a:cubicBezTo>
                    <a:pt x="1065" y="147"/>
                    <a:pt x="1065" y="147"/>
                    <a:pt x="1065" y="147"/>
                  </a:cubicBezTo>
                  <a:cubicBezTo>
                    <a:pt x="1073" y="131"/>
                    <a:pt x="1088" y="129"/>
                    <a:pt x="1094" y="129"/>
                  </a:cubicBezTo>
                  <a:cubicBezTo>
                    <a:pt x="1100" y="129"/>
                    <a:pt x="1115" y="131"/>
                    <a:pt x="1123" y="147"/>
                  </a:cubicBezTo>
                  <a:cubicBezTo>
                    <a:pt x="1123" y="147"/>
                    <a:pt x="1123" y="147"/>
                    <a:pt x="1123" y="147"/>
                  </a:cubicBezTo>
                  <a:cubicBezTo>
                    <a:pt x="1363" y="633"/>
                    <a:pt x="1363" y="633"/>
                    <a:pt x="1363" y="633"/>
                  </a:cubicBezTo>
                  <a:cubicBezTo>
                    <a:pt x="1386" y="680"/>
                    <a:pt x="1431" y="713"/>
                    <a:pt x="1484" y="721"/>
                  </a:cubicBezTo>
                  <a:cubicBezTo>
                    <a:pt x="2020" y="799"/>
                    <a:pt x="2020" y="799"/>
                    <a:pt x="2020" y="799"/>
                  </a:cubicBezTo>
                  <a:cubicBezTo>
                    <a:pt x="2038" y="801"/>
                    <a:pt x="2044" y="815"/>
                    <a:pt x="2046" y="821"/>
                  </a:cubicBezTo>
                  <a:cubicBezTo>
                    <a:pt x="2048" y="827"/>
                    <a:pt x="2051" y="841"/>
                    <a:pt x="2038" y="854"/>
                  </a:cubicBezTo>
                  <a:cubicBezTo>
                    <a:pt x="1650" y="1232"/>
                    <a:pt x="1650" y="1232"/>
                    <a:pt x="1650" y="1232"/>
                  </a:cubicBezTo>
                  <a:cubicBezTo>
                    <a:pt x="1612" y="1269"/>
                    <a:pt x="1595" y="1322"/>
                    <a:pt x="1604" y="13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35DC6325-D050-F043-9408-71A53D373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1539" y="-182563"/>
              <a:ext cx="406400" cy="439738"/>
            </a:xfrm>
            <a:custGeom>
              <a:avLst/>
              <a:gdLst>
                <a:gd name="T0" fmla="*/ 179 w 215"/>
                <a:gd name="T1" fmla="*/ 21 h 232"/>
                <a:gd name="T2" fmla="*/ 89 w 215"/>
                <a:gd name="T3" fmla="*/ 35 h 232"/>
                <a:gd name="T4" fmla="*/ 21 w 215"/>
                <a:gd name="T5" fmla="*/ 130 h 232"/>
                <a:gd name="T6" fmla="*/ 35 w 215"/>
                <a:gd name="T7" fmla="*/ 220 h 232"/>
                <a:gd name="T8" fmla="*/ 73 w 215"/>
                <a:gd name="T9" fmla="*/ 232 h 232"/>
                <a:gd name="T10" fmla="*/ 125 w 215"/>
                <a:gd name="T11" fmla="*/ 206 h 232"/>
                <a:gd name="T12" fmla="*/ 194 w 215"/>
                <a:gd name="T13" fmla="*/ 111 h 232"/>
                <a:gd name="T14" fmla="*/ 179 w 215"/>
                <a:gd name="T15" fmla="*/ 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79" y="21"/>
                  </a:moveTo>
                  <a:cubicBezTo>
                    <a:pt x="151" y="0"/>
                    <a:pt x="110" y="7"/>
                    <a:pt x="89" y="35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59"/>
                    <a:pt x="6" y="199"/>
                    <a:pt x="35" y="220"/>
                  </a:cubicBezTo>
                  <a:cubicBezTo>
                    <a:pt x="46" y="228"/>
                    <a:pt x="60" y="232"/>
                    <a:pt x="73" y="232"/>
                  </a:cubicBezTo>
                  <a:cubicBezTo>
                    <a:pt x="93" y="232"/>
                    <a:pt x="113" y="223"/>
                    <a:pt x="125" y="206"/>
                  </a:cubicBezTo>
                  <a:cubicBezTo>
                    <a:pt x="194" y="111"/>
                    <a:pt x="194" y="111"/>
                    <a:pt x="194" y="111"/>
                  </a:cubicBezTo>
                  <a:cubicBezTo>
                    <a:pt x="215" y="83"/>
                    <a:pt x="208" y="42"/>
                    <a:pt x="179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B6AC1C9F-859A-5AF1-7BFB-75C014A68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4402" y="-182563"/>
              <a:ext cx="407988" cy="439738"/>
            </a:xfrm>
            <a:custGeom>
              <a:avLst/>
              <a:gdLst>
                <a:gd name="T0" fmla="*/ 194 w 215"/>
                <a:gd name="T1" fmla="*/ 129 h 232"/>
                <a:gd name="T2" fmla="*/ 126 w 215"/>
                <a:gd name="T3" fmla="*/ 35 h 232"/>
                <a:gd name="T4" fmla="*/ 35 w 215"/>
                <a:gd name="T5" fmla="*/ 21 h 232"/>
                <a:gd name="T6" fmla="*/ 21 w 215"/>
                <a:gd name="T7" fmla="*/ 111 h 232"/>
                <a:gd name="T8" fmla="*/ 90 w 215"/>
                <a:gd name="T9" fmla="*/ 205 h 232"/>
                <a:gd name="T10" fmla="*/ 142 w 215"/>
                <a:gd name="T11" fmla="*/ 232 h 232"/>
                <a:gd name="T12" fmla="*/ 180 w 215"/>
                <a:gd name="T13" fmla="*/ 220 h 232"/>
                <a:gd name="T14" fmla="*/ 194 w 215"/>
                <a:gd name="T15" fmla="*/ 12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32">
                  <a:moveTo>
                    <a:pt x="194" y="129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05" y="6"/>
                    <a:pt x="64" y="0"/>
                    <a:pt x="35" y="21"/>
                  </a:cubicBezTo>
                  <a:cubicBezTo>
                    <a:pt x="6" y="42"/>
                    <a:pt x="0" y="82"/>
                    <a:pt x="21" y="111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102" y="223"/>
                    <a:pt x="122" y="232"/>
                    <a:pt x="142" y="232"/>
                  </a:cubicBezTo>
                  <a:cubicBezTo>
                    <a:pt x="155" y="232"/>
                    <a:pt x="168" y="228"/>
                    <a:pt x="180" y="220"/>
                  </a:cubicBezTo>
                  <a:cubicBezTo>
                    <a:pt x="209" y="199"/>
                    <a:pt x="215" y="158"/>
                    <a:pt x="194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87A52366-89E6-2D5B-9AC6-EF36B8D74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9427" y="2336800"/>
              <a:ext cx="484188" cy="328613"/>
            </a:xfrm>
            <a:custGeom>
              <a:avLst/>
              <a:gdLst>
                <a:gd name="T0" fmla="*/ 245 w 256"/>
                <a:gd name="T1" fmla="*/ 52 h 173"/>
                <a:gd name="T2" fmla="*/ 164 w 256"/>
                <a:gd name="T3" fmla="*/ 11 h 173"/>
                <a:gd name="T4" fmla="*/ 53 w 256"/>
                <a:gd name="T5" fmla="*/ 47 h 173"/>
                <a:gd name="T6" fmla="*/ 11 w 256"/>
                <a:gd name="T7" fmla="*/ 128 h 173"/>
                <a:gd name="T8" fmla="*/ 73 w 256"/>
                <a:gd name="T9" fmla="*/ 173 h 173"/>
                <a:gd name="T10" fmla="*/ 93 w 256"/>
                <a:gd name="T11" fmla="*/ 169 h 173"/>
                <a:gd name="T12" fmla="*/ 203 w 256"/>
                <a:gd name="T13" fmla="*/ 133 h 173"/>
                <a:gd name="T14" fmla="*/ 245 w 256"/>
                <a:gd name="T15" fmla="*/ 5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45" y="52"/>
                  </a:moveTo>
                  <a:cubicBezTo>
                    <a:pt x="234" y="18"/>
                    <a:pt x="197" y="0"/>
                    <a:pt x="164" y="1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19" y="58"/>
                    <a:pt x="0" y="94"/>
                    <a:pt x="11" y="128"/>
                  </a:cubicBezTo>
                  <a:cubicBezTo>
                    <a:pt x="20" y="155"/>
                    <a:pt x="45" y="173"/>
                    <a:pt x="73" y="173"/>
                  </a:cubicBezTo>
                  <a:cubicBezTo>
                    <a:pt x="79" y="173"/>
                    <a:pt x="86" y="172"/>
                    <a:pt x="93" y="169"/>
                  </a:cubicBezTo>
                  <a:cubicBezTo>
                    <a:pt x="203" y="133"/>
                    <a:pt x="203" y="133"/>
                    <a:pt x="203" y="133"/>
                  </a:cubicBezTo>
                  <a:cubicBezTo>
                    <a:pt x="237" y="122"/>
                    <a:pt x="256" y="86"/>
                    <a:pt x="245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5EDFD56D-C57E-BAB5-52ED-B3825B166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62802" y="3795712"/>
              <a:ext cx="246063" cy="466725"/>
            </a:xfrm>
            <a:custGeom>
              <a:avLst/>
              <a:gdLst>
                <a:gd name="T0" fmla="*/ 65 w 130"/>
                <a:gd name="T1" fmla="*/ 0 h 246"/>
                <a:gd name="T2" fmla="*/ 0 w 130"/>
                <a:gd name="T3" fmla="*/ 65 h 246"/>
                <a:gd name="T4" fmla="*/ 0 w 130"/>
                <a:gd name="T5" fmla="*/ 181 h 246"/>
                <a:gd name="T6" fmla="*/ 65 w 130"/>
                <a:gd name="T7" fmla="*/ 246 h 246"/>
                <a:gd name="T8" fmla="*/ 130 w 130"/>
                <a:gd name="T9" fmla="*/ 181 h 246"/>
                <a:gd name="T10" fmla="*/ 130 w 130"/>
                <a:gd name="T11" fmla="*/ 65 h 246"/>
                <a:gd name="T12" fmla="*/ 65 w 130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46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17"/>
                    <a:pt x="29" y="246"/>
                    <a:pt x="65" y="246"/>
                  </a:cubicBezTo>
                  <a:cubicBezTo>
                    <a:pt x="101" y="246"/>
                    <a:pt x="130" y="217"/>
                    <a:pt x="130" y="181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9BC6635E-DD4C-4994-297A-0DA658CD2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14" y="2336800"/>
              <a:ext cx="484188" cy="328613"/>
            </a:xfrm>
            <a:custGeom>
              <a:avLst/>
              <a:gdLst>
                <a:gd name="T0" fmla="*/ 203 w 256"/>
                <a:gd name="T1" fmla="*/ 47 h 173"/>
                <a:gd name="T2" fmla="*/ 92 w 256"/>
                <a:gd name="T3" fmla="*/ 11 h 173"/>
                <a:gd name="T4" fmla="*/ 11 w 256"/>
                <a:gd name="T5" fmla="*/ 52 h 173"/>
                <a:gd name="T6" fmla="*/ 53 w 256"/>
                <a:gd name="T7" fmla="*/ 133 h 173"/>
                <a:gd name="T8" fmla="*/ 163 w 256"/>
                <a:gd name="T9" fmla="*/ 170 h 173"/>
                <a:gd name="T10" fmla="*/ 183 w 256"/>
                <a:gd name="T11" fmla="*/ 173 h 173"/>
                <a:gd name="T12" fmla="*/ 245 w 256"/>
                <a:gd name="T13" fmla="*/ 128 h 173"/>
                <a:gd name="T14" fmla="*/ 203 w 256"/>
                <a:gd name="T15" fmla="*/ 4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173">
                  <a:moveTo>
                    <a:pt x="203" y="47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59" y="0"/>
                    <a:pt x="22" y="18"/>
                    <a:pt x="11" y="52"/>
                  </a:cubicBezTo>
                  <a:cubicBezTo>
                    <a:pt x="0" y="86"/>
                    <a:pt x="19" y="122"/>
                    <a:pt x="53" y="133"/>
                  </a:cubicBezTo>
                  <a:cubicBezTo>
                    <a:pt x="163" y="170"/>
                    <a:pt x="163" y="170"/>
                    <a:pt x="163" y="170"/>
                  </a:cubicBezTo>
                  <a:cubicBezTo>
                    <a:pt x="170" y="172"/>
                    <a:pt x="177" y="173"/>
                    <a:pt x="183" y="173"/>
                  </a:cubicBezTo>
                  <a:cubicBezTo>
                    <a:pt x="211" y="173"/>
                    <a:pt x="236" y="155"/>
                    <a:pt x="245" y="128"/>
                  </a:cubicBezTo>
                  <a:cubicBezTo>
                    <a:pt x="256" y="94"/>
                    <a:pt x="237" y="58"/>
                    <a:pt x="20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65189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ZenIcon3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99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Lato Light</vt:lpstr>
      <vt:lpstr>Wingdings</vt:lpstr>
      <vt:lpstr>Office Theme</vt:lpstr>
      <vt:lpstr>think-cell Slide</vt:lpstr>
      <vt:lpstr>5 head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60</cp:revision>
  <dcterms:created xsi:type="dcterms:W3CDTF">2021-03-31T02:49:57Z</dcterms:created>
  <dcterms:modified xsi:type="dcterms:W3CDTF">2025-10-15T08:28:02Z</dcterms:modified>
  <cp:category/>
</cp:coreProperties>
</file>